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8"/>
    <p:sldMasterId id="2147483707" r:id="rId9"/>
    <p:sldMasterId id="2147483889" r:id="rId10"/>
  </p:sldMasterIdLst>
  <p:notesMasterIdLst>
    <p:notesMasterId r:id="rId14"/>
  </p:notesMasterIdLst>
  <p:handoutMasterIdLst>
    <p:handoutMasterId r:id="rId15"/>
  </p:handoutMasterIdLst>
  <p:sldIdLst>
    <p:sldId id="483" r:id="rId11"/>
    <p:sldId id="480" r:id="rId12"/>
    <p:sldId id="481" r:id="rId13"/>
  </p:sldIdLst>
  <p:sldSz cx="12192000" cy="6858000"/>
  <p:notesSz cx="6797675" cy="9926638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94FF"/>
    <a:srgbClr val="1D7D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75" autoAdjust="0"/>
    <p:restoredTop sz="93591" autoAdjust="0"/>
  </p:normalViewPr>
  <p:slideViewPr>
    <p:cSldViewPr snapToGrid="0">
      <p:cViewPr varScale="1">
        <p:scale>
          <a:sx n="38" d="100"/>
          <a:sy n="38" d="100"/>
        </p:scale>
        <p:origin x="76" y="5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02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3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3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246B04-D0EF-42B8-8F83-A9BB60F64139}" type="datetimeFigureOut">
              <a:rPr lang="ru-RU" smtClean="0"/>
              <a:t>24.07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41C1A3-B3D9-4B44-84A8-C7DAACF895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5613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6E9B42-2FED-456B-A756-E29C3B3CB40A}" type="datetimeFigureOut">
              <a:rPr lang="ru-RU" smtClean="0"/>
              <a:t>24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29F2D-ECA1-4682-A4B2-EEB02C440E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1128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29F2D-ECA1-4682-A4B2-EEB02C440EEE}" type="slidenum">
              <a:rPr lang="ru-RU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981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430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165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0923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1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237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835" y="529106"/>
            <a:ext cx="1954635" cy="23802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87869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0650429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/>
          <a:lstStyle>
            <a:lvl1pPr>
              <a:spcBef>
                <a:spcPts val="436"/>
              </a:spcBef>
              <a:defRPr/>
            </a:lvl1pPr>
            <a:lvl2pPr marL="519488" indent="-261789">
              <a:spcBef>
                <a:spcPts val="436"/>
              </a:spcBef>
              <a:defRPr/>
            </a:lvl2pPr>
            <a:lvl3pPr marL="1038977" indent="-261789">
              <a:spcBef>
                <a:spcPts val="436"/>
              </a:spcBef>
              <a:defRPr/>
            </a:lvl3pPr>
            <a:lvl4pPr marL="1562554" indent="-265880">
              <a:spcBef>
                <a:spcPts val="436"/>
              </a:spcBef>
              <a:defRPr/>
            </a:lvl4pPr>
            <a:lvl5pPr marL="2339742" indent="-261789">
              <a:spcBef>
                <a:spcPts val="436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641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862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0463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33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4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3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934" y="239042"/>
            <a:ext cx="11329455" cy="61645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68" y="854995"/>
            <a:ext cx="11328400" cy="336244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8472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688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3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116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330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7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7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299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559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8644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1" y="1642369"/>
            <a:ext cx="12191999" cy="329361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237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596" y="2364227"/>
            <a:ext cx="1495959" cy="14482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10329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571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56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1818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5388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15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237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835" y="529106"/>
            <a:ext cx="1954635" cy="23802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2567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39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321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315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87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12192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7" y="0"/>
            <a:ext cx="11075633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039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7381" y="157708"/>
            <a:ext cx="10177131" cy="620688"/>
          </a:xfrm>
        </p:spPr>
        <p:txBody>
          <a:bodyPr/>
          <a:lstStyle>
            <a:lvl1pPr algn="l">
              <a:defRPr sz="2400" b="1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27381" y="1124745"/>
            <a:ext cx="11233248" cy="500141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251BD7-DC92-4E17-92ED-AA6F9D85AED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8AEAFF-E3CE-4EB6-8534-B22E93D86CC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75"/>
          <p:cNvSpPr/>
          <p:nvPr userDrawn="1"/>
        </p:nvSpPr>
        <p:spPr>
          <a:xfrm>
            <a:off x="0" y="0"/>
            <a:ext cx="12192000" cy="612559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913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7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962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171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116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1" y="1642369"/>
            <a:ext cx="12191999" cy="329361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237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596" y="2364227"/>
            <a:ext cx="1495959" cy="14482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787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484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18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vmlDrawing" Target="../drawings/vmlDrawing7.v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" name="Слайд think-cell" r:id="rId17" imgW="216" imgH="216" progId="TCLayout.ActiveDocument.1">
                  <p:embed/>
                </p:oleObj>
              </mc:Choice>
              <mc:Fallback>
                <p:oleObj name="Слайд think-cell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00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908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0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8977"/>
            <a:endParaRPr lang="en-US" sz="2667" b="1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74088" cy="831600"/>
          </a:xfrm>
          <a:prstGeom prst="rect">
            <a:avLst/>
          </a:prstGeom>
        </p:spPr>
        <p:txBody>
          <a:bodyPr vert="horz" lIns="0" tIns="38963" rIns="0" bIns="38963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Прямоугольник 75"/>
          <p:cNvSpPr/>
          <p:nvPr userDrawn="1"/>
        </p:nvSpPr>
        <p:spPr>
          <a:xfrm>
            <a:off x="0" y="0"/>
            <a:ext cx="12192000" cy="68358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5" rIns="92899" bIns="46455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986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8977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38977" rtl="0" eaLnBrk="1" latinLnBrk="0" hangingPunct="1">
        <a:spcBef>
          <a:spcPts val="436"/>
        </a:spcBef>
        <a:buClr>
          <a:srgbClr val="004990"/>
        </a:buClr>
        <a:buFontTx/>
        <a:buNone/>
        <a:defRPr sz="1867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519488" indent="-259744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•"/>
        <a:defRPr sz="1867" kern="1200">
          <a:solidFill>
            <a:schemeClr val="tx1"/>
          </a:solidFill>
          <a:latin typeface="+mj-lt"/>
          <a:ea typeface="+mn-ea"/>
          <a:cs typeface="+mn-cs"/>
        </a:defRPr>
      </a:lvl2pPr>
      <a:lvl3pPr marL="1038977" indent="-259744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–"/>
        <a:defRPr sz="1867" kern="1200">
          <a:solidFill>
            <a:schemeClr val="tx1"/>
          </a:solidFill>
          <a:latin typeface="+mj-lt"/>
          <a:ea typeface="+mn-ea"/>
          <a:cs typeface="+mn-cs"/>
        </a:defRPr>
      </a:lvl3pPr>
      <a:lvl4pPr marL="1563877" indent="-265155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–"/>
        <a:defRPr sz="1867" kern="1200">
          <a:solidFill>
            <a:schemeClr val="tx1"/>
          </a:solidFill>
          <a:latin typeface="+mj-lt"/>
          <a:ea typeface="+mn-ea"/>
          <a:cs typeface="+mn-cs"/>
        </a:defRPr>
      </a:lvl4pPr>
      <a:lvl5pPr marL="2339502" indent="-261548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–"/>
        <a:defRPr sz="1867" kern="1200">
          <a:solidFill>
            <a:schemeClr val="tx1"/>
          </a:solidFill>
          <a:latin typeface="+mj-lt"/>
          <a:ea typeface="+mn-ea"/>
          <a:cs typeface="+mn-cs"/>
        </a:defRPr>
      </a:lvl5pPr>
      <a:lvl6pPr marL="2857185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673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6161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650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19" name="Слайд think-cell" r:id="rId20" imgW="216" imgH="216" progId="TCLayout.ActiveDocument.1">
                  <p:embed/>
                </p:oleObj>
              </mc:Choice>
              <mc:Fallback>
                <p:oleObj name="Слайд think-cell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F61841-E6E8-4B19-90C9-8283016F86F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8A54E2-D3C1-49BC-B2C5-17E624EE088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02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2" r:id="rId12"/>
    <p:sldLayoutId id="2147483903" r:id="rId13"/>
    <p:sldLayoutId id="2147483905" r:id="rId14"/>
    <p:sldLayoutId id="2147483907" r:id="rId1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95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3"/>
          <p:cNvSpPr txBox="1">
            <a:spLocks/>
          </p:cNvSpPr>
          <p:nvPr/>
        </p:nvSpPr>
        <p:spPr bwMode="white">
          <a:xfrm>
            <a:off x="1010722" y="3714399"/>
            <a:ext cx="9727486" cy="194067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800" b="1" kern="1200" dirty="0" smtClean="0">
                <a:solidFill>
                  <a:srgbClr val="9E8665"/>
                </a:solidFill>
                <a:latin typeface="+mj-lt"/>
                <a:ea typeface="PT Sans" pitchFamily="34" charset="-52"/>
                <a:cs typeface="Arial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</a:pPr>
            <a:r>
              <a:rPr lang="ru-RU" sz="4000" dirty="0" smtClean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вые меры по </a:t>
            </a:r>
            <a:r>
              <a:rPr lang="ru-RU" sz="40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е отечественных товаропроизводителей </a:t>
            </a:r>
          </a:p>
        </p:txBody>
      </p:sp>
    </p:spTree>
    <p:extLst>
      <p:ext uri="{BB962C8B-B14F-4D97-AF65-F5344CB8AC3E}">
        <p14:creationId xmlns:p14="http://schemas.microsoft.com/office/powerpoint/2010/main" val="302551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75"/>
          <p:cNvSpPr/>
          <p:nvPr/>
        </p:nvSpPr>
        <p:spPr>
          <a:xfrm>
            <a:off x="0" y="0"/>
            <a:ext cx="12192000" cy="7398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201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3" name="Слайд think-cell" r:id="rId6" imgW="216" imgH="216" progId="TCLayout.ActiveDocument.1">
                  <p:embed/>
                </p:oleObj>
              </mc:Choice>
              <mc:Fallback>
                <p:oleObj name="Слайд think-cell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4263" y="0"/>
            <a:ext cx="10177131" cy="620688"/>
          </a:xfrm>
        </p:spPr>
        <p:txBody>
          <a:bodyPr>
            <a:normAutofit/>
          </a:bodyPr>
          <a:lstStyle/>
          <a:p>
            <a:pPr algn="ctr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r>
              <a:rPr lang="ru-RU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мпортозамещения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115395" y="1564641"/>
            <a:ext cx="578932" cy="577266"/>
          </a:xfrm>
          <a:prstGeom prst="ellipse">
            <a:avLst/>
          </a:prstGeom>
          <a:solidFill>
            <a:srgbClr val="0070C0"/>
          </a:solidFill>
          <a:ln w="9525" cap="rnd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ru-RU" sz="28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" name="Овал 22"/>
          <p:cNvSpPr/>
          <p:nvPr/>
        </p:nvSpPr>
        <p:spPr>
          <a:xfrm>
            <a:off x="115395" y="3312160"/>
            <a:ext cx="590644" cy="587731"/>
          </a:xfrm>
          <a:prstGeom prst="ellipse">
            <a:avLst/>
          </a:prstGeom>
          <a:solidFill>
            <a:srgbClr val="0070C0"/>
          </a:solidFill>
          <a:ln w="9525" cap="rnd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ru-RU" sz="28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92679" y="6045887"/>
            <a:ext cx="3451514" cy="745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954588" y="1452359"/>
            <a:ext cx="5755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b="1" dirty="0">
                <a:solidFill>
                  <a:srgbClr val="0070C0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 </a:t>
            </a:r>
            <a:r>
              <a:rPr lang="ru-RU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2018-2020 гг.: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481480" y="3002428"/>
            <a:ext cx="6701875" cy="23235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ов на </a:t>
            </a:r>
            <a:r>
              <a:rPr lang="ru-RU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тенге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8</a:t>
            </a: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тенге</a:t>
            </a: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ъем инвестиций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000  </a:t>
            </a: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х рабочих </a:t>
            </a: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</a:t>
            </a:r>
            <a:endParaRPr lang="en-US" sz="28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5 млрд</a:t>
            </a:r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нге </a:t>
            </a: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 выплачено  </a:t>
            </a:r>
          </a:p>
          <a:p>
            <a:pPr>
              <a:spcBef>
                <a:spcPts val="1200"/>
              </a:spcBef>
              <a:spcAft>
                <a:spcPts val="1200"/>
              </a:spcAft>
              <a:defRPr/>
            </a:pP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предприятиями </a:t>
            </a:r>
            <a:endParaRPr lang="ru-RU" sz="2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авая фигурная скобка 13"/>
          <p:cNvSpPr/>
          <p:nvPr/>
        </p:nvSpPr>
        <p:spPr>
          <a:xfrm>
            <a:off x="4955969" y="1685929"/>
            <a:ext cx="325348" cy="4671395"/>
          </a:xfrm>
          <a:prstGeom prst="rightBrace">
            <a:avLst>
              <a:gd name="adj1" fmla="val 93235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07879" y="5021234"/>
            <a:ext cx="4009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долгосрочных офф-тэйк договоров </a:t>
            </a:r>
            <a:r>
              <a:rPr lang="ru-RU" sz="2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2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5 </a:t>
            </a:r>
            <a:r>
              <a:rPr lang="ru-RU" sz="2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63706" y="1054742"/>
            <a:ext cx="415375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товаров, не производящихся в стране, но пользующихся постоянным спросом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28320" y="2939248"/>
            <a:ext cx="415375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е инвестиционных проектов по созданию новых производств</a:t>
            </a:r>
          </a:p>
        </p:txBody>
      </p:sp>
      <p:sp>
        <p:nvSpPr>
          <p:cNvPr id="15" name="Овал 14"/>
          <p:cNvSpPr/>
          <p:nvPr/>
        </p:nvSpPr>
        <p:spPr>
          <a:xfrm>
            <a:off x="115395" y="5344160"/>
            <a:ext cx="590644" cy="593622"/>
          </a:xfrm>
          <a:prstGeom prst="ellipse">
            <a:avLst/>
          </a:prstGeom>
          <a:solidFill>
            <a:srgbClr val="0070C0"/>
          </a:solidFill>
          <a:ln w="9525" cap="rnd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ru-RU" sz="28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4614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8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71961" y="3399561"/>
            <a:ext cx="11938952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spcBef>
                <a:spcPts val="900"/>
              </a:spcBef>
              <a:spcAft>
                <a:spcPts val="900"/>
              </a:spcAft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ru-RU" sz="28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 проектов </a:t>
            </a:r>
            <a:r>
              <a:rPr lang="ru-RU" sz="28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800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,3 млрд. тенге, </a:t>
            </a:r>
            <a:r>
              <a:rPr lang="ru-RU" sz="2800" b="1" kern="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ват 38 производителей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ü"/>
              <a:defRPr/>
            </a:pPr>
            <a:r>
              <a:rPr lang="ru-RU" sz="28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загруженности предприятий в среднем </a:t>
            </a:r>
            <a:r>
              <a:rPr lang="ru-RU" sz="2800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35% до 85%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ü"/>
              <a:defRPr/>
            </a:pPr>
            <a:r>
              <a:rPr lang="ru-RU" sz="28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становление </a:t>
            </a:r>
            <a:r>
              <a:rPr lang="ru-RU" sz="28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простаивающих рабочих мест</a:t>
            </a:r>
            <a:r>
              <a:rPr lang="ru-RU" sz="28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2800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0 новых рабочих мест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ü"/>
              <a:defRPr/>
            </a:pPr>
            <a:r>
              <a:rPr lang="ru-RU" sz="28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 счет увеличения загрузки производственных мощностей предприятиями будет </a:t>
            </a:r>
            <a:r>
              <a:rPr lang="ru-RU" sz="28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чено </a:t>
            </a:r>
            <a:r>
              <a:rPr lang="ru-RU" sz="2800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≈ 6 млрд. тенге налогов</a:t>
            </a:r>
            <a:endParaRPr lang="ru-RU" sz="2800" b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961" y="1172051"/>
            <a:ext cx="964703" cy="893093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134057" y="915443"/>
            <a:ext cx="28955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ная финансовая помощь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292679" y="0"/>
            <a:ext cx="11427634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поддержки действующих предприятий</a:t>
            </a: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049250" y="1366530"/>
            <a:ext cx="2721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тфельные компании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595348" y="1465348"/>
            <a:ext cx="25155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я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Прямая со стрелкой 33"/>
          <p:cNvCxnSpPr/>
          <p:nvPr/>
        </p:nvCxnSpPr>
        <p:spPr>
          <a:xfrm flipV="1">
            <a:off x="1511696" y="1666110"/>
            <a:ext cx="2203850" cy="2511"/>
          </a:xfrm>
          <a:prstGeom prst="straightConnector1">
            <a:avLst/>
          </a:prstGeom>
          <a:ln w="571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 flipV="1">
            <a:off x="7167072" y="1655196"/>
            <a:ext cx="2293591" cy="6691"/>
          </a:xfrm>
          <a:prstGeom prst="straightConnector1">
            <a:avLst/>
          </a:prstGeom>
          <a:ln w="571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701743" y="930903"/>
            <a:ext cx="3071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азов на товары и оборудования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13261" y="2770151"/>
            <a:ext cx="23763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: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Прямая со стрелкой 28"/>
          <p:cNvCxnSpPr/>
          <p:nvPr/>
        </p:nvCxnSpPr>
        <p:spPr>
          <a:xfrm flipH="1">
            <a:off x="7167071" y="1886315"/>
            <a:ext cx="2293591" cy="0"/>
          </a:xfrm>
          <a:prstGeom prst="straightConnector1">
            <a:avLst/>
          </a:prstGeom>
          <a:ln w="57150">
            <a:solidFill>
              <a:srgbClr val="3AA8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>
            <a:off x="1467238" y="1893379"/>
            <a:ext cx="2164835" cy="1548"/>
          </a:xfrm>
          <a:prstGeom prst="straightConnector1">
            <a:avLst/>
          </a:prstGeom>
          <a:ln w="57150">
            <a:solidFill>
              <a:srgbClr val="3AA8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082958" y="1943532"/>
            <a:ext cx="2377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ка товаров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41990" y="1964769"/>
            <a:ext cx="2869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ой помощи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772893" y="1366530"/>
            <a:ext cx="2160474" cy="80072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90181" y="1360479"/>
            <a:ext cx="2430204" cy="80072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091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4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3.80157419622060999131E+00&quot;&gt;&lt;m_msothmcolidx val=&quot;0&quot;/&gt;&lt;m_rgb r=&quot;34&quot; g=&quot;9A&quot; b=&quot;D3&quot;/&gt;&lt;m_nBrightness endver=&quot;26206&quot; val=&quot;0&quot;/&gt;&lt;/elem&gt;&lt;elem m_fUsage=&quot;3.27661871492754919188E+00&quot;&gt;&lt;m_msothmcolidx val=&quot;0&quot;/&gt;&lt;m_rgb r=&quot;00&quot; g=&quot;70&quot; b=&quot;C0&quot;/&gt;&lt;m_nBrightness endver=&quot;26206&quot; val=&quot;0&quot;/&gt;&lt;/elem&gt;&lt;elem m_fUsage=&quot;1.06878690000000009519E+00&quot;&gt;&lt;m_msothmcolidx val=&quot;0&quot;/&gt;&lt;m_rgb r=&quot;00&quot; g=&quot;A3&quot; b=&quot;A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Ol1xWs.w5C1RrU4Fmd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038u34mLUEjstiNGN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Ol1xWs.w5C1RrU4Fmd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LeC1w0j2T4YunpvnR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ank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2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2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
</file>

<file path=customXml/item2.xml>
</file>

<file path=customXml/item3.xml>
</file>

<file path=customXml/item4.xml>
</file>

<file path=customXml/item5.xml><?xml version="1.0" encoding="utf-8"?>
<Application xmlns="http://www.sap.com/cof/powerpoint/application">
  <Version>2</Version>
  <Revision>2.6.301.82915</Revision>
</Application>
</file>

<file path=customXml/item6.xml><?xml version="1.0" encoding="utf-8"?>
<Application xmlns="http://www.sap.com/cof/ao/powerpoint/application">
  <com.sap.ip.bi.pioneer>
    <Version>4</Version>
    <AAO_Revision>2.6.301.82915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7.xml>
</file>

<file path=customXml/itemProps1.xml><?xml version="1.0" encoding="utf-8"?>
<ds:datastoreItem xmlns:ds="http://schemas.openxmlformats.org/officeDocument/2006/customXml" ds:itemID="{A015BD4C-6387-4250-AC1F-101C9D8FAACD}"/>
</file>

<file path=customXml/itemProps2.xml><?xml version="1.0" encoding="utf-8"?>
<ds:datastoreItem xmlns:ds="http://schemas.openxmlformats.org/officeDocument/2006/customXml" ds:itemID="{B8B8001A-45DC-4792-81F0-C7BABB24B026}"/>
</file>

<file path=customXml/itemProps3.xml><?xml version="1.0" encoding="utf-8"?>
<ds:datastoreItem xmlns:ds="http://schemas.openxmlformats.org/officeDocument/2006/customXml" ds:itemID="{6A7B2815-1B66-438C-B284-61683225F781}"/>
</file>

<file path=customXml/itemProps4.xml><?xml version="1.0" encoding="utf-8"?>
<ds:datastoreItem xmlns:ds="http://schemas.openxmlformats.org/officeDocument/2006/customXml" ds:itemID="{A189A2AB-EDE6-4858-B113-B878C6492CFC}"/>
</file>

<file path=customXml/itemProps5.xml><?xml version="1.0" encoding="utf-8"?>
<ds:datastoreItem xmlns:ds="http://schemas.openxmlformats.org/officeDocument/2006/customXml" ds:itemID="{43B8165D-3A24-4670-AFB1-79919ECD67CF}">
  <ds:schemaRefs>
    <ds:schemaRef ds:uri="http://www.sap.com/cof/powerpoint/application"/>
  </ds:schemaRefs>
</ds:datastoreItem>
</file>

<file path=customXml/itemProps6.xml><?xml version="1.0" encoding="utf-8"?>
<ds:datastoreItem xmlns:ds="http://schemas.openxmlformats.org/officeDocument/2006/customXml" ds:itemID="{8D9E1237-C96B-4691-B52B-4003B80E4437}">
  <ds:schemaRefs>
    <ds:schemaRef ds:uri="http://www.sap.com/cof/ao/powerpoint/application"/>
  </ds:schemaRefs>
</ds:datastoreItem>
</file>

<file path=customXml/itemProps7.xml><?xml version="1.0" encoding="utf-8"?>
<ds:datastoreItem xmlns:ds="http://schemas.openxmlformats.org/officeDocument/2006/customXml" ds:itemID="{1C2E7E70-0D7D-46BF-ADC9-A7579F4B33DF}"/>
</file>

<file path=docProps/app.xml><?xml version="1.0" encoding="utf-8"?>
<Properties xmlns="http://schemas.openxmlformats.org/officeDocument/2006/extended-properties" xmlns:vt="http://schemas.openxmlformats.org/officeDocument/2006/docPropsVTypes">
  <TotalTime>7255</TotalTime>
  <Words>141</Words>
  <Application>Microsoft Office PowerPoint</Application>
  <PresentationFormat>Широкоэкранный</PresentationFormat>
  <Paragraphs>29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5" baseType="lpstr">
      <vt:lpstr>Arial</vt:lpstr>
      <vt:lpstr>Calibri</vt:lpstr>
      <vt:lpstr>Calibri Light</vt:lpstr>
      <vt:lpstr>Segoe UI Symbol</vt:lpstr>
      <vt:lpstr>Times New Roman</vt:lpstr>
      <vt:lpstr>Trebuchet MS</vt:lpstr>
      <vt:lpstr>Verdana</vt:lpstr>
      <vt:lpstr>Wingdings</vt:lpstr>
      <vt:lpstr>1_Тема Office</vt:lpstr>
      <vt:lpstr>2_blank</vt:lpstr>
      <vt:lpstr>7_Тема Office</vt:lpstr>
      <vt:lpstr>Слайд think-cell</vt:lpstr>
      <vt:lpstr>Презентация PowerPoint</vt:lpstr>
      <vt:lpstr>Программа импортозамещения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ruzbayeva, Irina</dc:creator>
  <cp:lastModifiedBy>Kassenova, Aigul</cp:lastModifiedBy>
  <cp:revision>453</cp:revision>
  <cp:lastPrinted>2020-07-24T06:28:47Z</cp:lastPrinted>
  <dcterms:created xsi:type="dcterms:W3CDTF">2019-10-28T05:53:15Z</dcterms:created>
  <dcterms:modified xsi:type="dcterms:W3CDTF">2020-07-24T06:28:49Z</dcterms:modified>
</cp:coreProperties>
</file>